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0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4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5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16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7.xml" ContentType="application/vnd.openxmlformats-officedocument.presentationml.notesSlide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56" autoAdjust="0"/>
    <p:restoredTop sz="93826" autoAdjust="0"/>
  </p:normalViewPr>
  <p:slideViewPr>
    <p:cSldViewPr snapToGrid="0">
      <p:cViewPr>
        <p:scale>
          <a:sx n="100" d="100"/>
          <a:sy n="100" d="100"/>
        </p:scale>
        <p:origin x="44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0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0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0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0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0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0.png"/><Relationship Id="rId4" Type="http://schemas.openxmlformats.org/officeDocument/2006/relationships/tags" Target="../tags/tag113.xml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4.png"/><Relationship Id="rId11" Type="http://schemas.openxmlformats.org/officeDocument/2006/relationships/image" Target="../media/image107.svg"/><Relationship Id="rId5" Type="http://schemas.openxmlformats.org/officeDocument/2006/relationships/image" Target="../media/image1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15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notesSlide" Target="../notesSlides/notesSlide16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4.png"/><Relationship Id="rId4" Type="http://schemas.openxmlformats.org/officeDocument/2006/relationships/tags" Target="../tags/tag149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3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5.xml"/><Relationship Id="rId15" Type="http://schemas.openxmlformats.org/officeDocument/2006/relationships/image" Target="../media/image134.PNG"/><Relationship Id="rId10" Type="http://schemas.openxmlformats.org/officeDocument/2006/relationships/image" Target="../media/image31.png"/><Relationship Id="rId4" Type="http://schemas.openxmlformats.org/officeDocument/2006/relationships/tags" Target="../tags/tag154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264227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in the low-temperature regi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465802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353007" y="6079300"/>
            <a:ext cx="8335707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iven a model, how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igh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‘s can we reach with the XTRG algorithm?</a:t>
            </a:r>
          </a:p>
        </p:txBody>
      </p:sp>
      <p:pic>
        <p:nvPicPr>
          <p:cNvPr id="5" name="Picture 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B0D6B5BF-F915-5233-96CA-4F633E5C93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032" y="6156825"/>
            <a:ext cx="140190" cy="228571"/>
          </a:xfrm>
          <a:prstGeom prst="rect">
            <a:avLst/>
          </a:prstGeom>
        </p:spPr>
      </p:pic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3919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tative answe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53007" y="2428973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‘Low’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247" y="2411217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806" y="3027948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476250" y="394405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353007" y="3815903"/>
            <a:ext cx="8839494" cy="9747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3 steps        Order of runtime = 10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ationally costly Frobenius norm evaluation 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047181" y="3815904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754" y="3944059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665325" y="5054417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an we extrapolate the singular values in the low-temperature regime to significantly speed up the computations?</a:t>
            </a:r>
          </a:p>
        </p:txBody>
      </p:sp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929200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118632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92736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pic>
        <p:nvPicPr>
          <p:cNvPr id="21" name="Picture 20" descr="A graph of a function&#10;&#10;AI-generated content may be incorrect.">
            <a:extLst>
              <a:ext uri="{FF2B5EF4-FFF2-40B4-BE49-F238E27FC236}">
                <a16:creationId xmlns:a16="http://schemas.microsoft.com/office/drawing/2014/main" id="{1A35F68E-6C5B-7918-9C8C-D2B0897A5B5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4136383"/>
            <a:ext cx="3827526" cy="2541750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58685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    and can easily be extrapolated in the high-temperature regime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346099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? Limitations?</a:t>
            </a:r>
            <a:endParaRPr lang="en-US" sz="2000" noProof="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Untertitel 2 5 1 1 1 1 2 1 1">
            <a:extLst>
              <a:ext uri="{FF2B5EF4-FFF2-40B4-BE49-F238E27FC236}">
                <a16:creationId xmlns:a16="http://schemas.microsoft.com/office/drawing/2014/main" id="{FCBE1603-E2D8-07B9-C4F6-AE7C3186BDA7}"/>
              </a:ext>
            </a:extLst>
          </p:cNvPr>
          <p:cNvSpPr txBox="1">
            <a:spLocks/>
          </p:cNvSpPr>
          <p:nvPr/>
        </p:nvSpPr>
        <p:spPr>
          <a:xfrm>
            <a:off x="1474099" y="6383953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How check convergence in general?</a:t>
            </a:r>
          </a:p>
        </p:txBody>
      </p:sp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725" y="4272015"/>
            <a:ext cx="487185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4" y="4482737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64</Words>
  <Application>Microsoft Office PowerPoint</Application>
  <PresentationFormat>Widescreen</PresentationFormat>
  <Paragraphs>268</Paragraphs>
  <Slides>2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61</cp:revision>
  <dcterms:created xsi:type="dcterms:W3CDTF">2025-07-18T13:05:37Z</dcterms:created>
  <dcterms:modified xsi:type="dcterms:W3CDTF">2025-07-20T22:19:29Z</dcterms:modified>
</cp:coreProperties>
</file>